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2"/>
  </p:notesMasterIdLst>
  <p:sldIdLst>
    <p:sldId id="382" r:id="rId5"/>
    <p:sldId id="383" r:id="rId6"/>
    <p:sldId id="384" r:id="rId7"/>
    <p:sldId id="385" r:id="rId8"/>
    <p:sldId id="386" r:id="rId9"/>
    <p:sldId id="387" r:id="rId10"/>
    <p:sldId id="388" r:id="rId11"/>
    <p:sldId id="389" r:id="rId12"/>
    <p:sldId id="390" r:id="rId13"/>
    <p:sldId id="391" r:id="rId14"/>
    <p:sldId id="392" r:id="rId15"/>
    <p:sldId id="393" r:id="rId16"/>
    <p:sldId id="394" r:id="rId17"/>
    <p:sldId id="395" r:id="rId18"/>
    <p:sldId id="396" r:id="rId19"/>
    <p:sldId id="397" r:id="rId20"/>
    <p:sldId id="398" r:id="rId21"/>
    <p:sldId id="399" r:id="rId22"/>
    <p:sldId id="400" r:id="rId23"/>
    <p:sldId id="401" r:id="rId24"/>
    <p:sldId id="402" r:id="rId25"/>
    <p:sldId id="403" r:id="rId26"/>
    <p:sldId id="404" r:id="rId27"/>
    <p:sldId id="405" r:id="rId28"/>
    <p:sldId id="406" r:id="rId29"/>
    <p:sldId id="407" r:id="rId30"/>
    <p:sldId id="408" r:id="rId3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ng, Priscilla G.,M.D." initials="WPG" lastIdx="5" clrIdx="0"/>
  <p:cmAuthor id="2" name="Mendu, Mallika L.,M.D.,M.B.A." initials="MML" lastIdx="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847" autoAdjust="0"/>
    <p:restoredTop sz="80136" autoAdjust="0"/>
  </p:normalViewPr>
  <p:slideViewPr>
    <p:cSldViewPr snapToGrid="0" snapToObjects="1">
      <p:cViewPr varScale="1">
        <p:scale>
          <a:sx n="135" d="100"/>
          <a:sy n="135" d="100"/>
        </p:scale>
        <p:origin x="1032" y="16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1CA303-F127-4ABF-A4B0-DB6AE93562D3}" type="datetimeFigureOut">
              <a:rPr lang="en-US" smtClean="0"/>
              <a:t>10/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4DCE6D-27EC-46AF-9F67-0DA08E34DC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79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9818" y="1589388"/>
            <a:ext cx="7142086" cy="1260682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9818" y="2913437"/>
            <a:ext cx="7142086" cy="552915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29818" y="4737145"/>
            <a:ext cx="1374164" cy="182512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281178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8862822" y="0"/>
            <a:ext cx="281178" cy="51435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29819" y="476952"/>
            <a:ext cx="2379722" cy="32997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628878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 b="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688010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525038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6118219" y="393217"/>
            <a:ext cx="3025781" cy="4347115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60" y="1419606"/>
            <a:ext cx="5486400" cy="2139553"/>
          </a:xfrm>
        </p:spPr>
        <p:txBody>
          <a:bodyPr anchor="ctr"/>
          <a:lstStyle>
            <a:lvl1pPr>
              <a:defRPr sz="40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4139507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824" y="1440180"/>
            <a:ext cx="5583306" cy="1932284"/>
          </a:xfrm>
        </p:spPr>
        <p:txBody>
          <a:bodyPr anchor="ctr"/>
          <a:lstStyle>
            <a:lvl1pPr>
              <a:defRPr sz="40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77825" y="3470148"/>
            <a:ext cx="2743199" cy="685801"/>
          </a:xfrm>
        </p:spPr>
        <p:txBody>
          <a:bodyPr/>
          <a:lstStyle>
            <a:lvl1pPr marL="0" indent="0">
              <a:buNone/>
              <a:defRPr sz="16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r>
              <a:rPr lang="en-US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0708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60" y="1347631"/>
            <a:ext cx="8183880" cy="2139553"/>
          </a:xfrm>
        </p:spPr>
        <p:txBody>
          <a:bodyPr anchor="ctr"/>
          <a:lstStyle>
            <a:lvl1pPr>
              <a:lnSpc>
                <a:spcPct val="100000"/>
              </a:lnSpc>
              <a:defRPr sz="4050">
                <a:solidFill>
                  <a:schemeClr val="accent2"/>
                </a:solidFill>
              </a:defRPr>
            </a:lvl1pPr>
          </a:lstStyle>
          <a:p>
            <a:r>
              <a:rPr lang="en-US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9773110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8014" y="2270307"/>
            <a:ext cx="4347972" cy="602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8366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24B90-2BF9-8A4A-8F51-6DDB5D670B98}" type="datetimeFigureOut">
              <a:rPr lang="en-US" smtClean="0"/>
              <a:t>10/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5BB75-9DFD-3F4E-8185-03F6781FA0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0154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2510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688181" indent="-175022">
              <a:buFont typeface="Wingdings" pitchFamily="2" charset="2"/>
              <a:buChar char="§"/>
              <a:defRPr/>
            </a:lvl4pPr>
            <a:lvl5pPr marL="859631" indent="-176213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438772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80059" y="1522382"/>
            <a:ext cx="3888486" cy="278649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0059" y="1289305"/>
            <a:ext cx="3888486" cy="233078"/>
          </a:xfrm>
        </p:spPr>
        <p:txBody>
          <a:bodyPr anchor="t"/>
          <a:lstStyle>
            <a:lvl1pPr marL="0" indent="0">
              <a:buNone/>
              <a:defRPr sz="150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770834" y="1289304"/>
            <a:ext cx="3887391" cy="233078"/>
          </a:xfrm>
        </p:spPr>
        <p:txBody>
          <a:bodyPr anchor="t"/>
          <a:lstStyle>
            <a:lvl1pPr marL="0" indent="0">
              <a:buNone/>
              <a:defRPr sz="150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770834" y="1522382"/>
            <a:ext cx="3887391" cy="278649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3858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80060" y="1289304"/>
            <a:ext cx="3888486" cy="301752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72025" y="1289304"/>
            <a:ext cx="3888486" cy="301752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427056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80059" y="1289304"/>
            <a:ext cx="2400300" cy="301752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68992" y="1289304"/>
            <a:ext cx="2400300" cy="301752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257925" y="1289304"/>
            <a:ext cx="2400300" cy="301752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018757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80059" y="1289304"/>
            <a:ext cx="5289233" cy="301752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257925" y="1289304"/>
            <a:ext cx="2400300" cy="301752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947841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80059" y="1670507"/>
            <a:ext cx="2400300" cy="2003221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68993" y="1670507"/>
            <a:ext cx="2400300" cy="2003221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257925" y="1670507"/>
            <a:ext cx="2400300" cy="2003221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480061" y="1289304"/>
            <a:ext cx="2400300" cy="204895"/>
          </a:xfrm>
        </p:spPr>
        <p:txBody>
          <a:bodyPr anchor="b"/>
          <a:lstStyle>
            <a:lvl1pPr marL="0" indent="0">
              <a:buNone/>
              <a:defRPr sz="135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3368993" y="1289304"/>
            <a:ext cx="2400300" cy="204895"/>
          </a:xfrm>
        </p:spPr>
        <p:txBody>
          <a:bodyPr anchor="b"/>
          <a:lstStyle>
            <a:lvl1pPr marL="0" indent="0">
              <a:buNone/>
              <a:defRPr sz="135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57925" y="1289304"/>
            <a:ext cx="2400300" cy="204895"/>
          </a:xfrm>
        </p:spPr>
        <p:txBody>
          <a:bodyPr anchor="b"/>
          <a:lstStyle>
            <a:lvl1pPr marL="0" indent="0">
              <a:buNone/>
              <a:defRPr sz="135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8993" y="3868823"/>
            <a:ext cx="2400300" cy="440049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57925" y="3868823"/>
            <a:ext cx="2400300" cy="440049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2" y="3868823"/>
            <a:ext cx="2400300" cy="440049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57863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68992" y="1670507"/>
            <a:ext cx="2400300" cy="2003221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257925" y="1670507"/>
            <a:ext cx="2400300" cy="2003221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3368992" y="1289304"/>
            <a:ext cx="2400300" cy="204895"/>
          </a:xfrm>
        </p:spPr>
        <p:txBody>
          <a:bodyPr anchor="b"/>
          <a:lstStyle>
            <a:lvl1pPr marL="0" indent="0">
              <a:buNone/>
              <a:defRPr sz="135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257925" y="1289304"/>
            <a:ext cx="2400300" cy="204895"/>
          </a:xfrm>
        </p:spPr>
        <p:txBody>
          <a:bodyPr anchor="b"/>
          <a:lstStyle>
            <a:lvl1pPr marL="0" indent="0">
              <a:buNone/>
              <a:defRPr sz="135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8992" y="3868824"/>
            <a:ext cx="2400300" cy="440049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57925" y="3868824"/>
            <a:ext cx="2400300" cy="440049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85775" y="1296772"/>
            <a:ext cx="2396729" cy="3012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0682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80060" y="1289304"/>
            <a:ext cx="8177213" cy="3019568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820" y="4378926"/>
            <a:ext cx="5293522" cy="206236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opulation Health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5808745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821609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02243" y="4771641"/>
            <a:ext cx="5780697" cy="11541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750">
                <a:solidFill>
                  <a:schemeClr val="tx1"/>
                </a:solidFill>
              </a:defRPr>
            </a:lvl1pPr>
          </a:lstStyle>
          <a:p>
            <a:r>
              <a:rPr lang="en-US"/>
              <a:t>Population Health   |   Confidential—do not copy or distribut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2" y="392906"/>
            <a:ext cx="8177213" cy="7173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1012" y="1289304"/>
            <a:ext cx="8177213" cy="30175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8400739" y="4771641"/>
            <a:ext cx="263201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750" smtClean="0">
                <a:solidFill>
                  <a:schemeClr val="tx1"/>
                </a:solidFill>
              </a:rPr>
              <a:pPr algn="r"/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480060" y="4685012"/>
            <a:ext cx="181050" cy="259317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13052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46472" indent="-171450" algn="l" defTabSz="6858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16731" indent="-165497" algn="l" defTabSz="6858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688181" indent="-175022" algn="l" defTabSz="6858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59631" indent="-176213" algn="l" defTabSz="6858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5" Type="http://schemas.openxmlformats.org/officeDocument/2006/relationships/image" Target="../media/image15.jpeg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5" Type="http://schemas.openxmlformats.org/officeDocument/2006/relationships/image" Target="../media/image16.jpeg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17.jpeg"/><Relationship Id="rId4" Type="http://schemas.openxmlformats.org/officeDocument/2006/relationships/image" Target="../media/image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8.jpeg"/><Relationship Id="rId4" Type="http://schemas.openxmlformats.org/officeDocument/2006/relationships/image" Target="../media/image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9.jpeg"/><Relationship Id="rId4" Type="http://schemas.openxmlformats.org/officeDocument/2006/relationships/image" Target="../media/image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5" Type="http://schemas.openxmlformats.org/officeDocument/2006/relationships/image" Target="../media/image20.jpeg"/><Relationship Id="rId4" Type="http://schemas.openxmlformats.org/officeDocument/2006/relationships/image" Target="../media/image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21.jpeg"/><Relationship Id="rId4" Type="http://schemas.openxmlformats.org/officeDocument/2006/relationships/image" Target="../media/image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5" Type="http://schemas.openxmlformats.org/officeDocument/2006/relationships/image" Target="../media/image22.jpeg"/><Relationship Id="rId4" Type="http://schemas.openxmlformats.org/officeDocument/2006/relationships/image" Target="../media/image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5" Type="http://schemas.openxmlformats.org/officeDocument/2006/relationships/image" Target="../media/image23.jpeg"/><Relationship Id="rId4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5" Type="http://schemas.openxmlformats.org/officeDocument/2006/relationships/image" Target="../media/image24.jpeg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7.jpeg"/><Relationship Id="rId4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5" Type="http://schemas.openxmlformats.org/officeDocument/2006/relationships/image" Target="../media/image25.jpeg"/><Relationship Id="rId4" Type="http://schemas.openxmlformats.org/officeDocument/2006/relationships/image" Target="../media/image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5" Type="http://schemas.openxmlformats.org/officeDocument/2006/relationships/image" Target="../media/image26.jpeg"/><Relationship Id="rId4" Type="http://schemas.openxmlformats.org/officeDocument/2006/relationships/image" Target="../media/image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5" Type="http://schemas.openxmlformats.org/officeDocument/2006/relationships/image" Target="../media/image27.jpeg"/><Relationship Id="rId4" Type="http://schemas.openxmlformats.org/officeDocument/2006/relationships/image" Target="../media/image5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5" Type="http://schemas.openxmlformats.org/officeDocument/2006/relationships/image" Target="../media/image28.jpeg"/><Relationship Id="rId4" Type="http://schemas.openxmlformats.org/officeDocument/2006/relationships/image" Target="../media/image5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5" Type="http://schemas.openxmlformats.org/officeDocument/2006/relationships/image" Target="../media/image29.jpeg"/><Relationship Id="rId4" Type="http://schemas.openxmlformats.org/officeDocument/2006/relationships/image" Target="../media/image5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5" Type="http://schemas.openxmlformats.org/officeDocument/2006/relationships/image" Target="../media/image30.jpeg"/><Relationship Id="rId4" Type="http://schemas.openxmlformats.org/officeDocument/2006/relationships/image" Target="../media/image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5" Type="http://schemas.openxmlformats.org/officeDocument/2006/relationships/image" Target="../media/image31.jpeg"/><Relationship Id="rId4" Type="http://schemas.openxmlformats.org/officeDocument/2006/relationships/image" Target="../media/image5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5" Type="http://schemas.openxmlformats.org/officeDocument/2006/relationships/image" Target="../media/image32.jpeg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8.jpeg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9.jpeg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0.jpeg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11.jpeg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12.jpeg"/><Relationship Id="rId4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4.jpeg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close-up of a business case&#10;&#10;Description automatically generated">
            <a:extLst>
              <a:ext uri="{FF2B5EF4-FFF2-40B4-BE49-F238E27FC236}">
                <a16:creationId xmlns:a16="http://schemas.microsoft.com/office/drawing/2014/main" id="{9A2CBF2E-B710-D386-9449-5EC832CF0B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8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ue and white banner with text&#10;&#10;Description automatically generated">
            <a:extLst>
              <a:ext uri="{FF2B5EF4-FFF2-40B4-BE49-F238E27FC236}">
                <a16:creationId xmlns:a16="http://schemas.microsoft.com/office/drawing/2014/main" id="{EAD1913E-334C-A3B9-3705-44ACEA88A9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085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Blueprint of a blueprint with text overlay&#10;&#10;Description automatically generated">
            <a:extLst>
              <a:ext uri="{FF2B5EF4-FFF2-40B4-BE49-F238E27FC236}">
                <a16:creationId xmlns:a16="http://schemas.microsoft.com/office/drawing/2014/main" id="{ADAABE42-6484-3774-C353-B471E24161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696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diagram of informational text&#10;&#10;Description automatically generated with medium confidence">
            <a:extLst>
              <a:ext uri="{FF2B5EF4-FFF2-40B4-BE49-F238E27FC236}">
                <a16:creationId xmlns:a16="http://schemas.microsoft.com/office/drawing/2014/main" id="{86AF7085-47E3-7FC2-D08A-3AAA9A51B2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63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diagram of a diagram&#10;&#10;Description automatically generated with medium confidence">
            <a:extLst>
              <a:ext uri="{FF2B5EF4-FFF2-40B4-BE49-F238E27FC236}">
                <a16:creationId xmlns:a16="http://schemas.microsoft.com/office/drawing/2014/main" id="{C423D849-826F-F349-375A-85A208CD36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224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screenshot of a web page&#10;&#10;Description automatically generated">
            <a:extLst>
              <a:ext uri="{FF2B5EF4-FFF2-40B4-BE49-F238E27FC236}">
                <a16:creationId xmlns:a16="http://schemas.microsoft.com/office/drawing/2014/main" id="{3F5FE907-AFE9-B1C8-7310-50358AD826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971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diagram of health care&#10;&#10;Description automatically generated">
            <a:extLst>
              <a:ext uri="{FF2B5EF4-FFF2-40B4-BE49-F238E27FC236}">
                <a16:creationId xmlns:a16="http://schemas.microsoft.com/office/drawing/2014/main" id="{6747470B-BCD3-B822-8223-E438D18433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3962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diagram of a project&#10;&#10;Description automatically generated">
            <a:extLst>
              <a:ext uri="{FF2B5EF4-FFF2-40B4-BE49-F238E27FC236}">
                <a16:creationId xmlns:a16="http://schemas.microsoft.com/office/drawing/2014/main" id="{08935123-8D8B-037E-AD80-2D5BB69F09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2581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screenshot of a medical report&#10;&#10;Description automatically generated">
            <a:extLst>
              <a:ext uri="{FF2B5EF4-FFF2-40B4-BE49-F238E27FC236}">
                <a16:creationId xmlns:a16="http://schemas.microsoft.com/office/drawing/2014/main" id="{91E0D44C-712B-733E-6971-D853259F1D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950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screenshot of a blue and white chart&#10;&#10;Description automatically generated">
            <a:extLst>
              <a:ext uri="{FF2B5EF4-FFF2-40B4-BE49-F238E27FC236}">
                <a16:creationId xmlns:a16="http://schemas.microsoft.com/office/drawing/2014/main" id="{10BC4EE4-A436-31E2-E604-D42E79E5A2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6762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screenshot of a medical form&#10;&#10;Description automatically generated">
            <a:extLst>
              <a:ext uri="{FF2B5EF4-FFF2-40B4-BE49-F238E27FC236}">
                <a16:creationId xmlns:a16="http://schemas.microsoft.com/office/drawing/2014/main" id="{03EF5602-DE2F-101F-CEA9-5C226A71A2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903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diagram of a learning objectives&#10;&#10;Description automatically generated">
            <a:extLst>
              <a:ext uri="{FF2B5EF4-FFF2-40B4-BE49-F238E27FC236}">
                <a16:creationId xmlns:a16="http://schemas.microsoft.com/office/drawing/2014/main" id="{D2DFBA68-4D6D-9394-B71A-606EBAFAD0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3035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screenshot of a spreadsheet&#10;&#10;Description automatically generated">
            <a:extLst>
              <a:ext uri="{FF2B5EF4-FFF2-40B4-BE49-F238E27FC236}">
                <a16:creationId xmlns:a16="http://schemas.microsoft.com/office/drawing/2014/main" id="{FD392A05-902D-B581-A84A-6EB4A01128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0130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screenshot of a website&#10;&#10;Description automatically generated">
            <a:extLst>
              <a:ext uri="{FF2B5EF4-FFF2-40B4-BE49-F238E27FC236}">
                <a16:creationId xmlns:a16="http://schemas.microsoft.com/office/drawing/2014/main" id="{6A20ED4D-4559-4A86-C061-E49D886196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2409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screenshot of a website&#10;&#10;Description automatically generated">
            <a:extLst>
              <a:ext uri="{FF2B5EF4-FFF2-40B4-BE49-F238E27FC236}">
                <a16:creationId xmlns:a16="http://schemas.microsoft.com/office/drawing/2014/main" id="{8C72BCB2-FD72-F19E-4CAA-02238DD8DF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7362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Several different ways to make the financial value agreement&#10;&#10;Description automatically generated">
            <a:extLst>
              <a:ext uri="{FF2B5EF4-FFF2-40B4-BE49-F238E27FC236}">
                <a16:creationId xmlns:a16="http://schemas.microsoft.com/office/drawing/2014/main" id="{D6A07BBA-FE66-5CAB-F8B2-B09644BD20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5954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road with yellow lines&#10;&#10;Description automatically generated">
            <a:extLst>
              <a:ext uri="{FF2B5EF4-FFF2-40B4-BE49-F238E27FC236}">
                <a16:creationId xmlns:a16="http://schemas.microsoft.com/office/drawing/2014/main" id="{D290520D-CD44-267C-8690-89ABA89103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5715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lose-up of a document&#10;&#10;Description automatically generated">
            <a:extLst>
              <a:ext uri="{FF2B5EF4-FFF2-40B4-BE49-F238E27FC236}">
                <a16:creationId xmlns:a16="http://schemas.microsoft.com/office/drawing/2014/main" id="{DADC5553-BED2-6778-438E-12839F441E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3564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lose-up of a book&#10;&#10;Description automatically generated">
            <a:extLst>
              <a:ext uri="{FF2B5EF4-FFF2-40B4-BE49-F238E27FC236}">
                <a16:creationId xmlns:a16="http://schemas.microsoft.com/office/drawing/2014/main" id="{F16CB359-BF82-ACE6-4773-BC1857E877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3811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road with a message on it&#10;&#10;Description automatically generated with medium confidence">
            <a:extLst>
              <a:ext uri="{FF2B5EF4-FFF2-40B4-BE49-F238E27FC236}">
                <a16:creationId xmlns:a16="http://schemas.microsoft.com/office/drawing/2014/main" id="{3DF3E3EA-D42F-3BE5-C8F7-25CF065BC6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1366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erson working on a computer&#10;&#10;Description automatically generated">
            <a:extLst>
              <a:ext uri="{FF2B5EF4-FFF2-40B4-BE49-F238E27FC236}">
                <a16:creationId xmlns:a16="http://schemas.microsoft.com/office/drawing/2014/main" id="{B3EA399E-B942-D206-CBF5-C533C052D0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320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ue and white text on a white background&#10;&#10;Description automatically generated">
            <a:extLst>
              <a:ext uri="{FF2B5EF4-FFF2-40B4-BE49-F238E27FC236}">
                <a16:creationId xmlns:a16="http://schemas.microsoft.com/office/drawing/2014/main" id="{E6FACE20-4347-ED3A-269C-DC212E0AAD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8521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screenshot of a web page&#10;&#10;Description automatically generated">
            <a:extLst>
              <a:ext uri="{FF2B5EF4-FFF2-40B4-BE49-F238E27FC236}">
                <a16:creationId xmlns:a16="http://schemas.microsoft.com/office/drawing/2014/main" id="{8577BCFE-1B17-3F9B-E628-4D598B1AFA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4149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long shot of a hallway&#10;&#10;Description automatically generated">
            <a:extLst>
              <a:ext uri="{FF2B5EF4-FFF2-40B4-BE49-F238E27FC236}">
                <a16:creationId xmlns:a16="http://schemas.microsoft.com/office/drawing/2014/main" id="{B2D62D4C-E9FA-6F89-CD4D-6A2C8294B0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016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ue and white box with blue text&#10;&#10;Description automatically generated">
            <a:extLst>
              <a:ext uri="{FF2B5EF4-FFF2-40B4-BE49-F238E27FC236}">
                <a16:creationId xmlns:a16="http://schemas.microsoft.com/office/drawing/2014/main" id="{93CF6D67-638B-8F26-114D-F205EAD9A8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319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ue and white banner with icons&#10;&#10;Description automatically generated">
            <a:extLst>
              <a:ext uri="{FF2B5EF4-FFF2-40B4-BE49-F238E27FC236}">
                <a16:creationId xmlns:a16="http://schemas.microsoft.com/office/drawing/2014/main" id="{DB458559-4369-1714-988E-732234C1AE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7360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diagram of a business case&#10;&#10;Description automatically generated">
            <a:extLst>
              <a:ext uri="{FF2B5EF4-FFF2-40B4-BE49-F238E27FC236}">
                <a16:creationId xmlns:a16="http://schemas.microsoft.com/office/drawing/2014/main" id="{EB44AAAA-7467-7FD3-0AFD-6DB8F5E202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90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GB_standard_template_022021" id="{D73F0B1C-26EB-3F44-8AE0-474B42F0F61E}" vid="{68716181-CC01-2345-AB9B-FFE4016E16B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C7A225231B3F45B61719BB2ECCC0AE" ma:contentTypeVersion="11" ma:contentTypeDescription="Create a new document." ma:contentTypeScope="" ma:versionID="cd039a331b8e8dad116e8e39b58af78a">
  <xsd:schema xmlns:xsd="http://www.w3.org/2001/XMLSchema" xmlns:xs="http://www.w3.org/2001/XMLSchema" xmlns:p="http://schemas.microsoft.com/office/2006/metadata/properties" xmlns:ns3="3c2364e1-352d-457b-b789-760a8f1932ee" xmlns:ns4="1296a74a-4f7d-4ae8-8c50-9a59a51df2f8" targetNamespace="http://schemas.microsoft.com/office/2006/metadata/properties" ma:root="true" ma:fieldsID="027fcb49a149dc7709b900c3ec6ac4f6" ns3:_="" ns4:_="">
    <xsd:import namespace="3c2364e1-352d-457b-b789-760a8f1932ee"/>
    <xsd:import namespace="1296a74a-4f7d-4ae8-8c50-9a59a51df2f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2364e1-352d-457b-b789-760a8f1932e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96a74a-4f7d-4ae8-8c50-9a59a51df2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E57C980-6AF4-47EB-9451-EFBFD359A2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2364e1-352d-457b-b789-760a8f1932ee"/>
    <ds:schemaRef ds:uri="1296a74a-4f7d-4ae8-8c50-9a59a51df2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0DE19E8-F985-49D2-BC4E-D4F337E851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550354-AC5C-49A1-8905-9613DF3A5276}">
  <ds:schemaRefs>
    <ds:schemaRef ds:uri="3c2364e1-352d-457b-b789-760a8f1932ee"/>
    <ds:schemaRef ds:uri="1296a74a-4f7d-4ae8-8c50-9a59a51df2f8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94</TotalTime>
  <Words>0</Words>
  <Application>Microsoft Macintosh PowerPoint</Application>
  <PresentationFormat>On-screen Show (16:9)</PresentationFormat>
  <Paragraphs>0</Paragraphs>
  <Slides>2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Calibri</vt:lpstr>
      <vt:lpstr>Georgia</vt:lpstr>
      <vt:lpstr>System Font Regular</vt:lpstr>
      <vt:lpstr>Wingdings</vt:lpstr>
      <vt:lpstr>MGB_standard_template_082020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iscilla Wang</dc:creator>
  <cp:lastModifiedBy>Wang, Priscilla G.,MD, MPH</cp:lastModifiedBy>
  <cp:revision>70</cp:revision>
  <dcterms:created xsi:type="dcterms:W3CDTF">2020-12-03T23:58:49Z</dcterms:created>
  <dcterms:modified xsi:type="dcterms:W3CDTF">2023-10-03T02:0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C7A225231B3F45B61719BB2ECCC0AE</vt:lpwstr>
  </property>
</Properties>
</file>